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</p:sldMasterIdLst>
  <p:notesMasterIdLst>
    <p:notesMasterId r:id="rId17"/>
  </p:notesMasterIdLst>
  <p:handoutMasterIdLst>
    <p:handoutMasterId r:id="rId18"/>
  </p:handoutMasterIdLst>
  <p:sldIdLst>
    <p:sldId id="8825" r:id="rId5"/>
    <p:sldId id="322" r:id="rId6"/>
    <p:sldId id="323" r:id="rId7"/>
    <p:sldId id="324" r:id="rId8"/>
    <p:sldId id="326" r:id="rId9"/>
    <p:sldId id="325" r:id="rId10"/>
    <p:sldId id="327" r:id="rId11"/>
    <p:sldId id="328" r:id="rId12"/>
    <p:sldId id="329" r:id="rId13"/>
    <p:sldId id="330" r:id="rId14"/>
    <p:sldId id="1575" r:id="rId15"/>
    <p:sldId id="8826" r:id="rId16"/>
  </p:sldIdLst>
  <p:sldSz cx="12192000" cy="6858000"/>
  <p:notesSz cx="7104063" cy="10234613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DC30D"/>
    <a:srgbClr val="F2C811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B3EB3C-ED13-498F-BC1F-1A35CEF9D11D}" v="174" dt="2019-10-21T14:56:38.728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62" autoAdjust="0"/>
    <p:restoredTop sz="71267" autoAdjust="0"/>
  </p:normalViewPr>
  <p:slideViewPr>
    <p:cSldViewPr snapToGrid="0">
      <p:cViewPr varScale="1">
        <p:scale>
          <a:sx n="103" d="100"/>
          <a:sy n="103" d="100"/>
        </p:scale>
        <p:origin x="106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5405"/>
    </p:cViewPr>
  </p:sorterViewPr>
  <p:notesViewPr>
    <p:cSldViewPr snapToGrid="0">
      <p:cViewPr>
        <p:scale>
          <a:sx n="1" d="2"/>
          <a:sy n="1" d="2"/>
        </p:scale>
        <p:origin x="3974" y="10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6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6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97282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58233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15800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5856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9007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73042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69358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7032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8146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639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40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86" y="2863031"/>
            <a:ext cx="3056653" cy="111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97" indent="0">
              <a:buNone/>
              <a:defRPr>
                <a:solidFill>
                  <a:schemeClr val="bg1"/>
                </a:solidFill>
              </a:defRPr>
            </a:lvl3pPr>
            <a:lvl4pPr marL="448193" indent="0">
              <a:buNone/>
              <a:defRPr>
                <a:solidFill>
                  <a:schemeClr val="bg1"/>
                </a:solidFill>
              </a:defRPr>
            </a:lvl4pPr>
            <a:lvl5pPr marL="67229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861970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0944813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939" y="1117590"/>
            <a:ext cx="11683199" cy="1655108"/>
          </a:xfrm>
        </p:spPr>
        <p:txBody>
          <a:bodyPr anchor="b"/>
          <a:lstStyle>
            <a:lvl1pPr indent="0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13939" y="3178512"/>
            <a:ext cx="11683199" cy="3679487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04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 dirty="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93436" y="266655"/>
            <a:ext cx="729216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812528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888" r:id="rId2"/>
    <p:sldLayoutId id="2147483890" r:id="rId3"/>
    <p:sldLayoutId id="2147483919" r:id="rId4"/>
    <p:sldLayoutId id="2147483920" r:id="rId5"/>
    <p:sldLayoutId id="2147483922" r:id="rId6"/>
    <p:sldLayoutId id="2147483925" r:id="rId7"/>
    <p:sldLayoutId id="2147483894" r:id="rId8"/>
    <p:sldLayoutId id="2147483895" r:id="rId9"/>
    <p:sldLayoutId id="2147483876" r:id="rId10"/>
    <p:sldLayoutId id="2147483923" r:id="rId11"/>
    <p:sldLayoutId id="214748392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4" Type="http://schemas.openxmlformats.org/officeDocument/2006/relationships/image" Target="../media/image4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3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4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6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4" Type="http://schemas.openxmlformats.org/officeDocument/2006/relationships/image" Target="../media/image3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4" Type="http://schemas.openxmlformats.org/officeDocument/2006/relationships/image" Target="../media/image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4" Type="http://schemas.openxmlformats.org/officeDocument/2006/relationships/image" Target="../media/image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Key Roles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help business users in developing Power BI solutions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ndy – Business Support Specialist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Support business users with complex modelling scenario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Help with data visualisations including custom visuals and R visual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Create reusable templates for business users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Power BI Development</a:t>
              </a:r>
            </a:p>
          </p:txBody>
        </p:sp>
      </p:grpSp>
      <p:pic>
        <p:nvPicPr>
          <p:cNvPr id="13" name="Picture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6387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5260">
        <p:fade/>
      </p:transition>
    </mc:Choice>
    <mc:Fallback xmlns="">
      <p:transition spd="med" advTm="2526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Who is fulfilling the following roles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2"/>
            <a:ext cx="9909342" cy="3679487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Corporate Sponsor</a:t>
            </a:r>
          </a:p>
          <a:p>
            <a:r>
              <a:rPr lang="en-US" dirty="0"/>
              <a:t>Power BI Champion</a:t>
            </a:r>
          </a:p>
          <a:p>
            <a:r>
              <a:rPr lang="en-US" dirty="0"/>
              <a:t>Data / Information Security Manager</a:t>
            </a:r>
          </a:p>
          <a:p>
            <a:r>
              <a:rPr lang="en-US" dirty="0"/>
              <a:t>Data Architect</a:t>
            </a:r>
          </a:p>
          <a:p>
            <a:r>
              <a:rPr lang="en-US" dirty="0"/>
              <a:t>Data Steward</a:t>
            </a:r>
          </a:p>
          <a:p>
            <a:r>
              <a:rPr lang="en-US" dirty="0"/>
              <a:t>BI Developer</a:t>
            </a:r>
          </a:p>
          <a:p>
            <a:r>
              <a:rPr lang="en-US" dirty="0"/>
              <a:t>Power BI Administrator</a:t>
            </a:r>
          </a:p>
          <a:p>
            <a:r>
              <a:rPr lang="en-US" dirty="0"/>
              <a:t>BAU Support Specialist</a:t>
            </a:r>
          </a:p>
          <a:p>
            <a:r>
              <a:rPr lang="en-US" dirty="0"/>
              <a:t>Business Support Specialis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324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437">
        <p:fade/>
      </p:transition>
    </mc:Choice>
    <mc:Fallback xmlns="">
      <p:transition spd="med" advTm="16437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537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am responsible for the strategic direction of the organisation and am keen to enable self-service BI in order to empower each and every individual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Gary – Corporate Sponsor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Tool assessment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Prioritisation of business area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Project approval and sign-off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Ability to influence organisational strategy around the use of BI tools</a:t>
              </a:r>
            </a:p>
          </p:txBody>
        </p:sp>
      </p:grpSp>
      <p:pic>
        <p:nvPicPr>
          <p:cNvPr id="14" name="Picture 13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6386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4490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85476">
        <p:fade/>
      </p:transition>
    </mc:Choice>
    <mc:Fallback xmlns="">
      <p:transition spd="med" advTm="85476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help teams in adopting self-service BI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Nick – Power BI Champion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Help evangelize the vision of a data driven culture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Strategically deploy Power BI across the organization or team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Subject matter experts (SMEs) who are also Excel/BI savvy and develop full understanding of the capabilities of Power BI </a:t>
              </a:r>
            </a:p>
          </p:txBody>
        </p:sp>
      </p:grpSp>
      <p:pic>
        <p:nvPicPr>
          <p:cNvPr id="14" name="Picture 13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23625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5132">
        <p:fade/>
      </p:transition>
    </mc:Choice>
    <mc:Fallback xmlns="">
      <p:transition spd="med" advTm="55132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ensure that we follow all security compliance policies, our data is always stored securely and accessible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Gale - Data/Information Security Manager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Data Residence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Auditing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Data Policy enforcement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Knowledge of IT Service management, auditing, security</a:t>
              </a:r>
            </a:p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Data Classification</a:t>
              </a:r>
            </a:p>
          </p:txBody>
        </p:sp>
      </p:grpSp>
      <p:pic>
        <p:nvPicPr>
          <p:cNvPr id="14" name="Picture 13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2925" cy="77152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1965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5124">
        <p:fade/>
      </p:transition>
    </mc:Choice>
    <mc:Fallback xmlns="">
      <p:transition spd="med" advTm="95124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design a technical architecture based on the business requirements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lex – Data Architect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Matching business requirements with technical capabilitie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Developing an architecture that meets the security and governance standards of the organisation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Knowledge of on premises and cloud data technologies</a:t>
              </a:r>
            </a:p>
          </p:txBody>
        </p:sp>
      </p:grpSp>
      <p:pic>
        <p:nvPicPr>
          <p:cNvPr id="13" name="Picture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7458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3395">
        <p:fade/>
      </p:transition>
    </mc:Choice>
    <mc:Fallback xmlns="">
      <p:transition spd="med" advTm="33395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"I create and maintain business metadata and rules, assess and enhance data quality, and share and collaborate across business and technical stakeholders“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Yash – Data Steward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Create and maintain business Metadata</a:t>
              </a:r>
            </a:p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Enhance data quality</a:t>
              </a:r>
            </a:p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Maintain the Data Catalogue, and the Data Dictionary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Data modelling, mashups and provisioning</a:t>
              </a:r>
            </a:p>
          </p:txBody>
        </p:sp>
      </p:grpSp>
      <p:pic>
        <p:nvPicPr>
          <p:cNvPr id="13" name="Picture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199" y="296386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142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86480">
        <p:fade/>
      </p:transition>
    </mc:Choice>
    <mc:Fallback xmlns="">
      <p:transition spd="med" advTm="8648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develop BI solutions and enable data sources for self-service BI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Matt – BI Developer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Make new data sources available for self-service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Develop new IT delivered solution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Enhance existing solution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Release management process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Full understanding of the capabilities of the Microsoft BI platform </a:t>
              </a:r>
            </a:p>
          </p:txBody>
        </p:sp>
      </p:grpSp>
      <p:pic>
        <p:nvPicPr>
          <p:cNvPr id="13" name="Picture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47680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1601">
        <p:fade/>
      </p:transition>
    </mc:Choice>
    <mc:Fallback xmlns="">
      <p:transition spd="med" advTm="21601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make sure that the services configured correctly and ensure that the services are appropriately monitored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pence - Power BI Administrator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Initial set up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Coordination with the O365/Azure admins 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License assignment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Set up for monitoring of the service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Gateway management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Knowledge of IT Service management, authentication</a:t>
              </a:r>
            </a:p>
          </p:txBody>
        </p:sp>
      </p:grpSp>
      <p:pic>
        <p:nvPicPr>
          <p:cNvPr id="14" name="Picture 13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057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205">
        <p:fade/>
      </p:transition>
    </mc:Choice>
    <mc:Fallback xmlns="">
      <p:transition spd="med" advTm="50205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ensure smooth running of all Power BI solutions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arah – Service Delivery Manager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Service status monitoring and issue resolution 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Grant access to Power BI app workspace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Gateway support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Minor enhancement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Release management of code changes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Service and gateway monitoring and configuration, Power BI Development, release management</a:t>
              </a:r>
            </a:p>
          </p:txBody>
        </p:sp>
      </p:grpSp>
      <p:pic>
        <p:nvPicPr>
          <p:cNvPr id="14" name="Picture 13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2925" cy="77152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20271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4856">
        <p:fade/>
      </p:transition>
    </mc:Choice>
    <mc:Fallback xmlns="">
      <p:transition spd="med" advTm="34856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PRESENTATIONINFO" val="{&quot;DocumentId&quot;:&quot;c5f6ffe8af8ff86ede2ebccd4a0c35c3&quot;,&quot;LanguageCode&quot;:&quot;en-US&quot;,&quot;SlideGuids&quot;:[&quot;bd27f58f-8c31-4e7f-8019-4e9ea7440194&quot;,&quot;f4edd891-cf7b-4af1-b457-fda75983cd76&quot;,&quot;4fce7e8f-50b7-4d01-968d-17c53484dc35&quot;,&quot;36c05d59-487e-4428-be68-292ba87e2e88&quot;,&quot;e4f358bb-0a8a-43a4-af8b-ed2b86a5292d&quot;,&quot;73e88970-58f8-49e4-815b-2c8cebe190b7&quot;,&quot;ce0b18dc-a1a4-4894-a951-897e32fedeb6&quot;,&quot;ce0b18dc-a1a4-4894-a951-897e32fedeb6&quot;,&quot;374f825a-13f8-4952-ba97-1e14101da527&quot;,&quot;2fe54f78-5ea0-4d0b-805c-26d8d6cfced0&quot;,&quot;3efde332-63f5-4e1a-ad7f-6a94bb7656c7&quot;,&quot;eed123e6-906f-40d4-8807-554262ac7776&quot;,&quot;51dd0746-5d84-4fdb-93a7-5223aa4d1a8c&quot;,&quot;2b03987f-721d-490a-b0d8-5f257472c9a5&quot;,&quot;21ff8925-b956-4314-83d7-6cdc03986049&quot;,&quot;4e7f7d60-f55b-44ea-8ede-a403e3c8b6ad&quot;,&quot;da2adfd3-6c85-445c-8a04-961772a752c0&quot;,&quot;fe0e102e-fa6a-43a7-87ca-99cef675104a&quot;,&quot;6353fe2a-8fb5-4e98-b81c-b4b9c9beb156&quot;,&quot;03427c60-ee99-455b-a44c-a9cda6291dc8&quot;,&quot;2c93c07c-7a0a-41ca-9a3a-7d613d9fd0de&quot;,&quot;494ec137-621c-4f97-a361-276b4fcbee0e&quot;,&quot;008edbbb-4a39-4b72-98c5-c7d4cdfa191f&quot;,&quot;e02d702e-9f95-45a0-80d4-9575e33a68b3&quot;,&quot;cfda5b28-833b-4506-8188-d4ffce54241a&quot;,&quot;07e92643-9087-408d-b764-2ebf928fd394&quot;,&quot;29540760-7625-442a-9995-db32325be7d4&quot;,&quot;8587c752-79d1-479d-8ef8-85efa1aa0b67&quot;,&quot;668632f4-1faa-41b3-a042-41899efb1fb7&quot;,&quot;04cb979c-bf26-4d05-8c1b-353c68b7b84f&quot;,&quot;de6c6708-d36b-486b-b05b-68381d79eaa9&quot;,&quot;c327785d-45fd-4c3a-a802-64f4a4200f80&quot;,&quot;cf2ce322-1e34-43c9-8b86-28a0a8167f13&quot;,&quot;3bd05ad5-7897-458d-8f6f-8480a0a35fcb&quot;,&quot;c077a30f-ea27-4449-9251-26a19143ee84&quot;,&quot;090afc66-c719-44b4-874c-216a38fc64a2&quot;,&quot;78314123-b804-4988-ba2c-af62340ba375&quot;,&quot;36767db7-869c-462e-88cf-542e5581b00c&quot;,&quot;9a223591-8d32-4dbb-8ba6-bafc7ce2c760&quot;,&quot;b24050bc-9d77-4a67-b6b0-26bd09d6581a&quot;,&quot;b201441e-60b7-49c5-93ad-83ff52c03358&quot;,&quot;3827b110-5ef1-43d2-83b4-154f779ed230&quot;,&quot;455962cc-f796-4d42-ae44-875eac3e68b8&quot;,&quot;3c000986-b36d-46c2-8c7c-71e59c011460&quot;,&quot;48af0919-8a65-4d16-b9ad-7cb7cad26f05&quot;,&quot;83c66928-fbc7-4c75-a1cf-c591c1bbc2c3&quot;,&quot;b707b591-a086-4e02-a0b1-220d6da94597&quot;,&quot;0256cb45-836f-46d8-94b0-6bb946e64bcc&quot;,&quot;59bec75d-28ee-47a6-bfef-45232b7ee116&quot;,&quot;968ecc2f-6843-44b0-96a1-4f9971029d74&quot;,&quot;f61b5cc7-85d7-4612-8629-2aa2ba4381ed&quot;,&quot;63f9d5fc-4f14-4ce8-88ef-541901c5cee9&quot;,&quot;78cb7161-df01-4cfa-b142-efee8fa3e781&quot;,&quot;4521d720-38ff-49fc-8fe0-9bbed5520aad&quot;,&quot;14ae06bf-5bd4-492d-8c23-22b13e2ac58f&quot;,&quot;5190989d-2461-45b6-a39e-f1ca52676412&quot;,&quot;02a645ae-6a59-4e8a-a538-33c5e7ddb351&quot;,&quot;3d302933-48b9-4e7e-8c93-60bf219b7775&quot;,&quot;2f748345-6a00-459e-825c-662f11f6a350&quot;,&quot;6825c889-ffc8-4030-b217-d15aa94b9f36&quot;,&quot;6b3a2c27-e00e-4105-8522-28c2428289aa&quot;,&quot;604801f3-442b-4dd5-b28b-6733268e031b&quot;,&quot;d3056f23-c866-48c1-85f0-8f160f5b94b0&quot;,&quot;488e8923-755b-43cd-b244-3e0770e2de45&quot;,&quot;c92aa6f5-b589-446c-b183-3ac0aca9b633&quot;,&quot;b1dc052e-c4ae-4df4-ad79-b8d1a734ddd2&quot;,&quot;1175f602-1345-4601-964f-4120ac631631&quot;,&quot;6ba7af5a-8aac-45d6-842e-d58bd12d5498&quot;,&quot;b53828cf-b8ac-40bd-b8c2-e009f9031aea&quot;,&quot;f4a63e25-93df-4f8b-848c-321b9c110a8c&quot;,&quot;0dadf319-610b-47e4-8a8d-04c443ceaba0&quot;,&quot;6c373499-d933-4f50-b177-e2e4be50f6b3&quot;,&quot;50e017a5-0b46-45b4-96f4-99c57ea0facf&quot;,&quot;42797224-8780-45ef-9556-b12a91c23f53&quot;,&quot;59216eab-a9e7-4829-8f38-b3d416328428&quot;,&quot;f422aee5-af96-456d-9f5c-02b988ead3d9&quot;,&quot;44a86195-3614-42df-b676-eacc8143a1d0&quot;,&quot;2cbd6a10-8742-4fb9-af33-258a18d8da8a&quot;,&quot;add41386-2969-4408-8ab3-74df70141b56&quot;,&quot;bfe28f68-6473-4497-ab76-33fee8a31dfc&quot;,&quot;613c22ba-b87b-4db9-b8b4-9fa7016fce29&quot;,&quot;d47595e4-78b6-4e2c-8426-5967385effb9&quot;,&quot;69aaba50-1fd9-4e4c-bdb9-9142f463c028&quot;,&quot;4bffc3e7-6d8a-4bb2-a1f7-4b71e3081837&quot;,&quot;b7996406-73df-4918-8aab-5eb099491486&quot;,&quot;cc58137f-fd0e-4910-9672-9245a6ddc401&quot;,&quot;d6268804-9ec6-499f-9d6e-13d6a7ea3355&quot;,&quot;b4af48fc-2d3d-400f-9bef-56984d4e5d82&quot;,&quot;f332053b-e5d4-464b-a096-114bfd2ae778&quot;,&quot;eafd813e-2503-4f2e-8cf5-284ef4e2b6c1&quot;,&quot;8669328a-33e5-4669-b64b-5dac327aafdb&quot;,&quot;d666803f-f197-4306-b6ce-4514482c9488&quot;,&quot;45187a35-74ee-4aa9-8e02-c58377bb6e85&quot;,&quot;623826cb-5be4-445e-b956-72c99d7ec0dd&quot;,&quot;9ba47dd3-8365-4a41-b9f3-fcddaa3aef4a&quot;,&quot;f977a9cb-5999-4bbf-850d-1eac2fefb6ea&quot;,&quot;3a15f807-3431-48fe-a793-488eaf994906&quot;,&quot;63a5eefd-5f9d-4e66-88d7-a8d7f2cbb9cb&quot;,&quot;8bd9ecff-e143-4021-a785-debf3457163a&quot;,&quot;53fac9f0-698c-46fa-b964-c20d1169ed30&quot;,&quot;3f138df9-9774-4417-a9c2-ee56ab1d3c9f&quot;,&quot;cffb766c-5e1b-447d-b287-2e1a985d9f88&quot;,&quot;d5c0e9ff-d478-473a-b4f7-dfec9dbdb2c2&quot;,&quot;a3c82b6d-15da-48e3-a61a-f2299217c467&quot;,&quot;e9f2aed1-bc4b-4a5c-b71d-be5a3be82079&quot;,&quot;5ae25384-add2-4c98-9f52-c46147697bb5&quot;,&quot;c434c421-b204-452f-bac4-fc6aeb855f0c&quot;,&quot;6b59afee-f7cf-4824-ad76-a5958888f953&quot;,&quot;fda37079-4350-4d51-aff2-46dfdcdcb4fc&quot;,&quot;4a8ff623-585a-44db-b977-24927a7ebf46&quot;,&quot;529c02d5-e1a8-4f4a-a470-eead622758ad&quot;,&quot;b81f408f-decc-4322-a2e0-95e58af507e5&quot;,&quot;9d24e936-84b0-4631-8258-413d8fd1bcef&quot;,&quot;8396da3e-fcae-451b-8f6e-318f375def01&quot;,&quot;9203a1fc-e0b1-4a9b-b1b7-75e7a0a0dee5&quot;,&quot;17c45a5e-ebb6-473d-8562-a8fb0f4945df&quot;,&quot;2aee86eb-368a-4abb-b7ca-277f5f33fd18&quot;,&quot;b24c36f9-4f61-408f-9ad2-0dbb0d369aa9&quot;,&quot;d2d83f14-51b7-466d-b9e2-bd31fda55dc2&quot;,&quot;8170a419-ac10-4da4-b0fc-90f65d25e971&quot;,&quot;e5261ae0-6671-44a0-8135-a9334d5b9d8d&quot;,&quot;e3e133e5-68e4-47ce-bca5-f56c782d118d&quot;,&quot;b302d720-c583-4110-84fe-2241fdc37489&quot;,&quot;f955e6c8-62b8-4b48-bb40-6df46df6a56f&quot;,&quot;59fa61c6-fe3b-43e8-9225-eb73625f1a0f&quot;,&quot;a11cb183-16e8-48ac-a2fc-fec4f2708a1a&quot;,&quot;bb0806f2-78b1-4233-9e64-6c9cd1fefa11&quot;,&quot;729fbdd4-d5a0-45df-a814-8596f78f69d6&quot;,&quot;86bab68a-338c-4f5a-a485-6cf23b691d72&quot;,&quot;fb0a09ab-ab5d-4682-9b4f-c0eb55e88450&quot;,&quot;0c76773f-9d61-4e46-bb47-488ce2a09d24&quot;,&quot;e6b0888d-cfde-474d-ad61-981aaf793f43&quot;,&quot;84696418-18dd-4b8a-9550-fac8d9bdc3b8&quot;,&quot;966cdb95-6921-4298-9e6b-32b3daada0e7&quot;,&quot;3cf23c71-2bdd-4457-9590-5dfc62a1816f&quot;,&quot;5c62467b-e383-461a-87cb-b200fdbef8f1&quot;,&quot;799d7c19-1597-4cbf-a2fa-e4168d0d5851&quot;,&quot;b74a840c-6c9f-4f44-b999-0f821961076c&quot;,&quot;9f420262-4751-4f49-9df6-a386139ba351&quot;,&quot;ecd3b482-04d6-44dc-b0b2-3b13d753e3b8&quot;,&quot;efb99900-eef9-44c0-ada8-8dd80cfa275d&quot;,&quot;88b30436-0545-4828-a8e2-7e10186056fe&quot;,&quot;99e0e13c-0ad4-470f-9482-d4cc4170459d&quot;,&quot;17f82aa0-d8e7-4ff7-9005-849d9b5a138a&quot;,&quot;ac75fd85-2cbb-472a-a94b-80fb001836f3&quot;,&quot;0bf59e2e-1662-4beb-a9cb-f7dac8f25dc8&quot;,&quot;22d0d9c3-50eb-4e67-9597-fee82493bea5&quot;,&quot;1201f5e8-5c78-4f42-81a0-9cdc01931aca&quot;,&quot;5c7adf06-0011-4c6b-b8e1-dcbe1df0a163&quot;,&quot;ec5cac07-624e-45d7-a803-4414b46d193e&quot;,&quot;740476fb-c585-480f-9d75-e1cce9afc063&quot;,&quot;49fd6ec7-de99-4624-8325-d46da840da70&quot;,&quot;4648191d-7515-48d3-97c9-0beb1f076216&quot;,&quot;8539d23c-6abf-46f9-8c0c-317681ee28a2&quot;,&quot;30cdf0e5-bd9b-49f8-8d81-861a24f77b84&quot;,&quot;76dd1fbc-b64b-4672-ac40-0f8a89f06866&quot;,&quot;6d66e04c-669e-4419-8842-c0265db6d4af&quot;,&quot;d3d93002-44cd-41d2-8344-7723b3763375&quot;,&quot;36d0b1f8-ee96-410a-938e-10ad0047bfbd&quot;,&quot;b53f290e-b23c-4e5f-bdbc-4b89a0bd865f&quot;,&quot;ff429f87-b708-48a0-9159-b246ac41f6aa&quot;,&quot;a261d2fd-f26a-4fee-849c-badfdf08364b&quot;,&quot;b1915713-d666-499b-9d61-b9cf14454aaa&quot;,&quot;66da8720-27a4-4f11-aded-28df5965136f&quot;,&quot;73e8f1fd-13e5-4363-afa4-b61e51edacd9&quot;,&quot;3825311d-4251-4457-9541-9151a31789ef&quot;,&quot;32e4ff08-1efd-4c3e-8e18-4972cd07c0ad&quot;,&quot;82cedb5f-16fb-436b-b105-0061889208e1&quot;,&quot;1ae6c34d-b2c0-431f-9744-42291568b4dc&quot;,&quot;68430c4c-6efd-42fb-80f0-f2444fa47b78&quot;,&quot;dc31674e-83f9-44d6-b575-ae9dd39f3b00&quot;,&quot;781b0596-69eb-4de4-88d9-5b3d53009ce4&quot;,&quot;74e0ed0a-9ce0-4c38-9b6d-2fe7a3917c1a&quot;,&quot;d43cdfc6-9181-40f9-ad49-6e2e5687c58e&quot;,&quot;77744988-1bfc-453f-b59e-af2f16e5666e&quot;,&quot;3387bc85-33da-4d56-af5f-fb955284636e&quot;,&quot;c2b431e6-9775-4675-b455-c9eb85a209a7&quot;,&quot;c128e3fc-47d6-4b4b-a0d6-ef14997b7f6c&quot;,&quot;e4d6b10c-3883-4bbd-9789-88a18f488d47&quot;,&quot;c72e949d-2cae-41bd-8e41-2f5970a177ba&quot;,&quot;3f34e8e6-ef09-4e3d-b23c-e658da26dab2&quot;,&quot;6f00ca99-c12b-4f74-849f-1dd3376c7f6a&quot;,&quot;5a33d612-8f84-400c-8c62-4aa9e4ca40da&quot;,&quot;ef61e477-d04b-4e08-9581-08ed74eb133b&quot;,&quot;63ecc404-dba1-4a15-813f-6c3a65a5e14f&quot;,&quot;b1fb9e46-ffc6-4992-8c06-cc04310918aa&quot;,&quot;d84a418c-a4d1-4501-a7d2-aeb876f190e1&quot;,&quot;6e975f20-1f6c-498a-9055-f32c1851d79c&quot;,&quot;a9429e0e-a888-4e35-9326-d467a034dc3f&quot;,&quot;31abc739-592b-4fa8-8596-776cf7fdc800&quot;,&quot;0d73f182-2f12-4328-838e-f615bf53fde8&quot;,&quot;1a393b8f-496f-432a-927d-526e6f4e67e5&quot;,&quot;f17672c9-25cc-46fd-b0b7-d4b8f1a9a4d5&quot;,&quot;1fa39df0-6297-4dfc-9483-864713a25075&quot;,&quot;e0f98a76-0413-483e-bda5-59ea6ecbf15a&quot;,&quot;ac675815-4c93-459b-98b6-f90d97ab56f4&quot;,&quot;c3beef28-7d0c-4a3a-8e4e-1eee8e0dee48&quot;,&quot;e456ce84-927a-4de0-a9ca-66f33489b723&quot;,&quot;12931718-33f4-46a7-aee7-6898a3baab94&quot;,&quot;a62f0790-1ce8-4fe8-bec2-df0ee27920f5&quot;,&quot;51967c5c-f1e4-42e0-a7a3-7731e7a4d4c6&quot;,&quot;fb9794c7-9242-47f8-8592-3d1f34f3a045&quot;,&quot;97aafeb3-ee6c-406e-a03e-0736337f9f08&quot;,&quot;3a09482f-9bc1-47a8-928a-0fcdd92472a4&quot;,&quot;3193d1ea-042c-4c38-8bba-03a87b52678a&quot;,&quot;785d985c-b2c3-4268-abdd-f7b8cc81e2d9&quot;,&quot;3b8661a8-83a8-452b-b768-2b017cf484f4&quot;,&quot;7358b208-4587-4b41-9284-e45f73190bb9&quot;,&quot;fcf516d6-ac9e-441a-973a-2299ff4c1774&quot;,&quot;b3176890-c8f2-4624-9aa8-8e479d27dc68&quot;,&quot;095de789-5c68-48ca-94e1-1868371dbf72&quot;,&quot;ccc53099-771a-42be-9ea5-d3c3e64ff64e&quot;,&quot;d2264db9-f448-4486-a9ed-32ab90ca5240&quot;,&quot;4bd4e680-dad7-466d-9cdd-76852960b21d&quot;,&quot;faa48e47-23ad-4416-b110-f416df1d7574&quot;,&quot;b9ff888c-70b0-455d-9578-a2408aad96dd&quot;,&quot;51920074-c4a0-4902-97e5-be2234c9192c&quot;,&quot;891e7732-592c-48a8-8b3a-59a9dd051236&quot;,&quot;ea1a3beb-0864-4fe2-9e8e-6dac01050b5f&quot;,&quot;56026a5f-b615-4ee0-b11f-50b056eaa49d&quot;,&quot;ea85097a-8a5d-48c7-b635-f95e5bee6005&quot;,&quot;e5f3b096-2666-479b-bb41-7a58b1d7d1e4&quot;,&quot;02a3b9c4-48bc-4525-9723-ee3d095bf523&quot;,&quot;aa6a0b0e-7105-42fe-a283-ef6e2c90a4a8&quot;,&quot;31d92f9d-b406-4862-99a4-c23d9a6393c9&quot;,&quot;0c3d54a0-c97c-45a1-84c9-2b4b6c0dbfa4&quot;,&quot;5bae44fe-6e22-447f-a606-a312a4874ad6&quot;,&quot;2f8b870c-2306-48e2-b2c7-4e713028a39f&quot;,&quot;575531f2-f829-47b5-befd-9e9b6fb9b6a4&quot;,&quot;247b3404-b525-438c-b19c-bc9e82b0c7f7&quot;,&quot;8e7f3dec-196e-4a22-99fc-7030c24c2208&quot;,&quot;3fc319bf-8e2a-4383-98b4-99335fd0c3e1&quot;,&quot;02496e84-6b13-4d09-b327-376a51c91e7d&quot;,&quot;f9c419af-899d-42ce-92d5-af340ed0adb3&quot;,&quot;662427e6-eb32-4c17-9a43-81fd996c0b8a&quot;,&quot;31b53294-bf41-4071-8658-a223b0cd5ba9&quot;,&quot;8a860304-6afa-474a-8e55-f29f10c914f2&quot;,&quot;59c4a74f-a12d-4aa6-bd9c-b10bc27d631c&quot;,&quot;0fde6687-fb09-419b-af39-b1f50d309257&quot;,&quot;20296214-a541-448e-aed6-43958bc60c92&quot;,&quot;3cb79f31-d77c-490e-8449-384728744430&quot;,&quot;9cd1d042-f63d-4aab-a4c8-0f3513a0a9d0&quot;,&quot;7ef5deb9-ff23-49a0-ab53-df0f054b6ffa&quot;,&quot;c01978a5-db14-44c0-935a-de1d94e96556&quot;,&quot;07bfaa4c-c5dd-437a-921d-dfbcde781e48&quot;,&quot;716c82d2-ebe1-47dd-8943-8c7b8d817ac7&quot;,&quot;f52d3811-518b-4ace-bf3c-135b1f3e522a&quot;,&quot;ac400379-ae39-478a-88eb-a15add7ba528&quot;,&quot;e74e0e80-d292-4df1-a0f0-4d98c639af44&quot;,&quot;bf4ca86b-971b-4f4a-aafb-ae638ff41269&quot;,&quot;fe3401a1-f7cf-4526-8069-b5268753758b&quot;,&quot;35d2de6e-0023-4971-a2f9-d8df36e645fb&quot;,&quot;379896e6-ff0b-4c5d-884a-aeb4237863f7&quot;,&quot;7765df07-43c0-49c1-b433-a5c417be7c97&quot;,&quot;d5e69aed-e637-4034-a05c-050a4e1f65f2&quot;,&quot;0066a306-c518-4ce8-9bcd-5c08509f5476&quot;,&quot;0d23583e-4d18-4878-8eee-5648f96cb5d6&quot;,&quot;adcc8b78-10ca-49b7-87b9-8a4de2634b8b&quot;,&quot;7d82ce0d-52d5-476d-91e6-ac7d47fbc574&quot;,&quot;0a6e677e-ed31-43fa-810f-a298f7dcc36a&quot;,&quot;7b8bbefd-fb73-4dd3-9db1-3d9ad703e0a8&quot;,&quot;88905a90-335b-4e64-b528-f930db686cfc&quot;,&quot;a0020818-6752-442f-9fa6-63d52c7f23fc&quot;,&quot;8590fc4f-b5fd-49f7-8691-f6c1f3f9db22&quot;,&quot;ff8faf34-f7ca-41aa-8cdc-0642f9e45376&quot;,&quot;9385ebf9-8c06-4860-b296-f31ba4daf7ed&quot;,&quot;53e05db0-8851-42c7-becc-438b0795036e&quot;,&quot;67778786-cf33-4390-b808-8f30a2da9c2a&quot;,&quot;083c140a-0747-4220-87a7-031f8f578b88&quot;,&quot;e5f23a77-0d56-40da-a7fc-eecd728f6bdd&quot;,&quot;166378fb-a5c8-4342-9f73-bc25db1284a4&quot;,&quot;7feda65f-e041-487f-974b-2760087c56ec&quot;,&quot;4cb92ff9-58fc-46e3-9309-ebcc48f3c4d3&quot;,&quot;a1fc57da-6eda-4841-95a7-ba288628d3f2&quot;,&quot;297acb2e-6643-40aa-a1ef-080e94c1a71d&quot;,&quot;7fddecd3-2995-4e47-a681-a7522e5ef7b6&quot;,&quot;d4340adb-3983-4762-b1cf-945d66600bb5&quot;,&quot;c545ef80-6506-4f29-9608-66b0cff8b1ef&quot;,&quot;96aab897-7e3c-4d36-8acd-63fddf71ef00&quot;,&quot;2b0dd98d-a1bf-408c-850a-aeb9917288a5&quot;,&quot;006c79d4-136b-496a-99a2-5164aa04679e&quot;,&quot;170f6f4d-d0b8-431c-b286-0c361945cf88&quot;,&quot;1feead20-0bc1-406a-9877-a34645017860&quot;,&quot;776a289d-78fc-44b8-ba44-7796d7bbe09a&quot;,&quot;641b1c30-d7df-42b3-a97d-8d79ef8d058b&quot;,&quot;eb747dd5-f27f-4e6b-a3b5-6ec5e9d7fbf1&quot;],&quot;TimeStamp&quot;:&quot;2019-04-15T09:10:03.8482142-07:00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8587c752-79d1-479d-8ef8-85efa1aa0b67&quot;,&quot;TimeStamp&quot;:&quot;2019-04-15T09:10:03.6025976-07:00&quot;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668632f4-1faa-41b3-a042-41899efb1fb7&quot;,&quot;TimeStamp&quot;:&quot;2019-04-15T09:10:03.6035987-07:00&quot;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4cb979c-bf26-4d05-8c1b-353c68b7b84f&quot;,&quot;TimeStamp&quot;:&quot;2019-04-15T09:10:03.6047988-07:00&quot;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24050bc-9d77-4a67-b6b0-26bd09d6581a&quot;,&quot;TimeStamp&quot;:&quot;2019-04-15T09:10:03.6167423-07:00&quot;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494ec137-621c-4f97-a361-276b4fcbee0e&quot;,&quot;TimeStamp&quot;:&quot;2019-04-15T09:10:03.5927197-07:00&quot;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08edbbb-4a39-4b72-98c5-c7d4cdfa191f&quot;,&quot;TimeStamp&quot;:&quot;2019-04-15T09:10:03.5936501-07:00&quot;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e02d702e-9f95-45a0-80d4-9575e33a68b3&quot;,&quot;TimeStamp&quot;:&quot;2019-04-15T09:10:03.5959263-07:00&quot;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cfda5b28-833b-4506-8188-d4ffce54241a&quot;,&quot;TimeStamp&quot;:&quot;2019-04-15T09:10:03.5976507-07:00&quot;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7e92643-9087-408d-b764-2ebf928fd394&quot;,&quot;TimeStamp&quot;:&quot;2019-04-15T09:10:03.6006474-07:00&quot;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29540760-7625-442a-9995-db32325be7d4&quot;,&quot;TimeStamp&quot;:&quot;2019-04-15T09:10:03.6019179-07:00&quot;}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5" ma:contentTypeDescription="Create a new document." ma:contentTypeScope="" ma:versionID="1f59f1658d780e0b4c7f1ae8a5e1509b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e8c07af3b0c20b254d99977dc4d26b0c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6062497-C66E-46BC-A236-4CCA7DA732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20180a-3b72-4868-9ddb-261d82f11a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2</Words>
  <Application>Microsoft Office PowerPoint</Application>
  <PresentationFormat>Widescreen</PresentationFormat>
  <Paragraphs>122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think-cell Slide</vt:lpstr>
      <vt:lpstr>Power BI Adoption Framewor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o is fulfilling the following roles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4-22T21:28:46Z</dcterms:created>
  <dcterms:modified xsi:type="dcterms:W3CDTF">2019-11-06T11:5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makanw@microsoft.com</vt:lpwstr>
  </property>
  <property fmtid="{D5CDD505-2E9C-101B-9397-08002B2CF9AE}" pid="5" name="MSIP_Label_f42aa342-8706-4288-bd11-ebb85995028c_SetDate">
    <vt:lpwstr>2019-04-22T21:33:14.3023868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ad8c226d-71b3-4948-8a75-4fea39b7ed7d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  <property fmtid="{D5CDD505-2E9C-101B-9397-08002B2CF9AE}" pid="11" name="ContentTypeId">
    <vt:lpwstr>0x0101004637B333D9039F42B4A841E7D21AD3E7</vt:lpwstr>
  </property>
</Properties>
</file>